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63" r:id="rId1"/>
  </p:sldMasterIdLst>
  <p:notesMasterIdLst>
    <p:notesMasterId r:id="rId10"/>
  </p:notesMasterIdLst>
  <p:handoutMasterIdLst>
    <p:handoutMasterId r:id="rId11"/>
  </p:handoutMasterIdLst>
  <p:sldIdLst>
    <p:sldId id="327" r:id="rId2"/>
    <p:sldId id="607" r:id="rId3"/>
    <p:sldId id="599" r:id="rId4"/>
    <p:sldId id="606" r:id="rId5"/>
    <p:sldId id="600" r:id="rId6"/>
    <p:sldId id="601" r:id="rId7"/>
    <p:sldId id="597" r:id="rId8"/>
    <p:sldId id="602" r:id="rId9"/>
  </p:sldIdLst>
  <p:sldSz cx="9144000" cy="6858000" type="screen4x3"/>
  <p:notesSz cx="10234613" cy="7099300"/>
  <p:custDataLst>
    <p:tags r:id="rId12"/>
  </p:custDataLst>
  <p:defaultTextStyle>
    <a:defPPr>
      <a:defRPr lang="en-GB"/>
    </a:defPPr>
    <a:lvl1pPr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1pPr>
    <a:lvl2pPr marL="742950" indent="-28575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2pPr>
    <a:lvl3pPr marL="11430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3pPr>
    <a:lvl4pPr marL="16002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4pPr>
    <a:lvl5pPr marL="20574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C5F2398-EB05-4321-B408-7922C5812131}">
          <p14:sldIdLst>
            <p14:sldId id="327"/>
            <p14:sldId id="607"/>
            <p14:sldId id="599"/>
            <p14:sldId id="606"/>
            <p14:sldId id="600"/>
            <p14:sldId id="601"/>
            <p14:sldId id="597"/>
            <p14:sldId id="6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vil Dräxler" initials="SD" lastIdx="5" clrIdx="0"/>
  <p:cmAuthor id="2" name="Microsoft Office User" initials="Office" lastIdx="1" clrIdx="1"/>
  <p:cmAuthor id="3" name="Microsoft Office User" initials="Office [2]" lastIdx="1" clrIdx="2"/>
  <p:cmAuthor id="4" name="Microsoft Office User" initials="Office [3]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8C40"/>
    <a:srgbClr val="000000"/>
    <a:srgbClr val="2D8473"/>
    <a:srgbClr val="334D1E"/>
    <a:srgbClr val="DBE9FD"/>
    <a:srgbClr val="660061"/>
    <a:srgbClr val="333333"/>
    <a:srgbClr val="002664"/>
    <a:srgbClr val="FFFFFF"/>
    <a:srgbClr val="EBEB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393" autoAdjust="0"/>
    <p:restoredTop sz="92923" autoAdjust="0"/>
  </p:normalViewPr>
  <p:slideViewPr>
    <p:cSldViewPr snapToGrid="0">
      <p:cViewPr varScale="1">
        <p:scale>
          <a:sx n="122" d="100"/>
          <a:sy n="122" d="100"/>
        </p:scale>
        <p:origin x="208" y="70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-1920"/>
    </p:cViewPr>
  </p:outlineViewPr>
  <p:notesTextViewPr>
    <p:cViewPr>
      <p:scale>
        <a:sx n="175" d="100"/>
        <a:sy n="1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3" d="100"/>
          <a:sy n="123" d="100"/>
        </p:scale>
        <p:origin x="1122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55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522C9-49E4-4346-A3F7-81E0B5519C6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55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32F061-E45A-42E0-9879-26098373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3382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AutoShape 1"/>
          <p:cNvSpPr>
            <a:spLocks noChangeArrowheads="1"/>
          </p:cNvSpPr>
          <p:nvPr/>
        </p:nvSpPr>
        <p:spPr bwMode="auto">
          <a:xfrm>
            <a:off x="0" y="0"/>
            <a:ext cx="10234613" cy="70993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4471988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5851525" y="0"/>
            <a:ext cx="43561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332163" y="546100"/>
            <a:ext cx="355600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1377950" y="3378200"/>
            <a:ext cx="7454900" cy="3214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0" y="6757988"/>
            <a:ext cx="4471988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5851525" y="6757988"/>
            <a:ext cx="43561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fld id="{BFF4498B-9906-4E29-A50D-C532DB0FC8D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0706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5066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fld id="{BFF4498B-9906-4E29-A50D-C532DB0FC8D2}" type="slidenum">
              <a:rPr lang="de-DE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4727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fld id="{BFF4498B-9906-4E29-A50D-C532DB0FC8D2}" type="slidenum">
              <a:rPr lang="de-DE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8928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fld id="{BFF4498B-9906-4E29-A50D-C532DB0FC8D2}" type="slidenum">
              <a:rPr lang="de-DE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891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/>
              <a:t>costs = opex + cape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fld id="{BFF4498B-9906-4E29-A50D-C532DB0FC8D2}" type="slidenum">
              <a:rPr lang="de-DE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62851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6267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2"/>
          <p:cNvSpPr>
            <a:spLocks noChangeShapeType="1"/>
          </p:cNvSpPr>
          <p:nvPr/>
        </p:nvSpPr>
        <p:spPr bwMode="auto">
          <a:xfrm>
            <a:off x="750888" y="2220913"/>
            <a:ext cx="0" cy="7620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6" name="Line 13"/>
          <p:cNvSpPr>
            <a:spLocks noChangeShapeType="1"/>
          </p:cNvSpPr>
          <p:nvPr/>
        </p:nvSpPr>
        <p:spPr bwMode="auto">
          <a:xfrm>
            <a:off x="512763" y="2752725"/>
            <a:ext cx="82073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950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90600" y="1400175"/>
            <a:ext cx="7772400" cy="1143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Click to edit Master title style</a:t>
            </a:r>
          </a:p>
        </p:txBody>
      </p:sp>
      <p:sp>
        <p:nvSpPr>
          <p:cNvPr id="14950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335088" y="2933700"/>
            <a:ext cx="6400800" cy="2052638"/>
          </a:xfrm>
        </p:spPr>
        <p:txBody>
          <a:bodyPr/>
          <a:lstStyle>
            <a:lvl1pPr marL="0" indent="0" algn="ctr">
              <a:buFont typeface="Symbol" charset="2"/>
              <a:buNone/>
              <a:defRPr sz="2800"/>
            </a:lvl1pPr>
          </a:lstStyle>
          <a:p>
            <a:r>
              <a:rPr lang="de-DE"/>
              <a:t>Click to edit Master subtitle style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0434" y="5819775"/>
            <a:ext cx="3138706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4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tection of Anomalies for VNFs - Marvin Illian</a:t>
            </a:r>
            <a:endParaRPr lang="en-US" dirty="0"/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xfrm>
            <a:off x="2381250" y="6340475"/>
            <a:ext cx="5676900" cy="476250"/>
          </a:xfrm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23863" y="914400"/>
            <a:ext cx="4167187" cy="5191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43450" y="914400"/>
            <a:ext cx="4168775" cy="5191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7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9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Click to edit Master title style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Drag picture to placeholder or click icon to add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etection of Anomalies for VNFs - Marvin Illian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12750" y="150813"/>
            <a:ext cx="85312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Klicken Sie, um das Titelformat zu bearbeiten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863" y="914400"/>
            <a:ext cx="8488362" cy="519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48502" name="Line 22"/>
          <p:cNvSpPr>
            <a:spLocks noChangeShapeType="1"/>
          </p:cNvSpPr>
          <p:nvPr/>
        </p:nvSpPr>
        <p:spPr bwMode="auto">
          <a:xfrm>
            <a:off x="319088" y="252413"/>
            <a:ext cx="0" cy="69215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4" name="Line 24"/>
          <p:cNvSpPr>
            <a:spLocks noChangeShapeType="1"/>
          </p:cNvSpPr>
          <p:nvPr/>
        </p:nvSpPr>
        <p:spPr bwMode="auto">
          <a:xfrm>
            <a:off x="157163" y="784225"/>
            <a:ext cx="882967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5" name="Line 25"/>
          <p:cNvSpPr>
            <a:spLocks noChangeShapeType="1"/>
          </p:cNvSpPr>
          <p:nvPr/>
        </p:nvSpPr>
        <p:spPr bwMode="auto">
          <a:xfrm>
            <a:off x="157163" y="6240463"/>
            <a:ext cx="882967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7" name="Rectangle 2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81250" y="6340475"/>
            <a:ext cx="567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etection of Anomalies for VNFs - Marvin Illian</a:t>
            </a:r>
            <a:endParaRPr lang="en-US" dirty="0"/>
          </a:p>
        </p:txBody>
      </p:sp>
      <p:sp>
        <p:nvSpPr>
          <p:cNvPr id="148508" name="Rectangle 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01025" y="6340475"/>
            <a:ext cx="6667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endParaRPr lang="en-US" dirty="0"/>
          </a:p>
        </p:txBody>
      </p:sp>
      <p:sp>
        <p:nvSpPr>
          <p:cNvPr id="11" name="Textfeld 1"/>
          <p:cNvSpPr txBox="1"/>
          <p:nvPr userDrawn="1"/>
        </p:nvSpPr>
        <p:spPr>
          <a:xfrm>
            <a:off x="7812360" y="6381328"/>
            <a:ext cx="1192797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7CDBFA2-BE9E-409D-9DE6-07F629A228C8}" type="slidenum">
              <a:rPr lang="en-US" sz="1800" smtClean="0">
                <a:solidFill>
                  <a:srgbClr val="002664"/>
                </a:solidFill>
              </a:rPr>
              <a:pPr algn="r"/>
              <a:t>‹#›</a:t>
            </a:fld>
            <a:endParaRPr lang="en-US" sz="1800" dirty="0">
              <a:solidFill>
                <a:srgbClr val="002664"/>
              </a:solidFill>
            </a:endParaRPr>
          </a:p>
        </p:txBody>
      </p:sp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0899" y="6300788"/>
            <a:ext cx="1226765" cy="430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24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12382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>
          <a:solidFill>
            <a:schemeClr val="tx1"/>
          </a:solidFill>
          <a:latin typeface="+mn-lt"/>
          <a:ea typeface="ＭＳ Ｐゴシック" charset="-128"/>
        </a:defRPr>
      </a:lvl3pPr>
      <a:lvl4pPr marL="16192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20002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5pPr>
      <a:lvl6pPr marL="24574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6pPr>
      <a:lvl7pPr marL="29146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7pPr>
      <a:lvl8pPr marL="33718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8pPr>
      <a:lvl9pPr marL="38290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2800"/>
              <a:t>Storage</a:t>
            </a:r>
            <a:endParaRPr lang="en-US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90600" y="2875869"/>
            <a:ext cx="7772400" cy="2727548"/>
          </a:xfrm>
        </p:spPr>
        <p:txBody>
          <a:bodyPr/>
          <a:lstStyle/>
          <a:p>
            <a:pPr>
              <a:spcBef>
                <a:spcPts val="7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2788584" y="6350639"/>
            <a:ext cx="184666" cy="440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34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808"/>
    </mc:Choice>
    <mc:Fallback xmlns="">
      <p:transition spd="slow" advTm="24808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7A5EE-C102-B54D-BD84-BE879B984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 1 – Supervised Learning</a:t>
            </a:r>
            <a:endParaRPr lang="en-D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5533B6E-B346-214E-BAF0-46B27B1BCD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2" y="914400"/>
            <a:ext cx="7663933" cy="5191125"/>
          </a:xfrm>
        </p:spPr>
        <p:txBody>
          <a:bodyPr/>
          <a:lstStyle/>
          <a:p>
            <a:r>
              <a:rPr lang="en-GB"/>
              <a:t>No reproduction of papers</a:t>
            </a:r>
          </a:p>
          <a:p>
            <a:r>
              <a:rPr lang="en-GB"/>
              <a:t>Characterise storage demand of VNFs from different categories</a:t>
            </a:r>
            <a:endParaRPr lang="en-DE"/>
          </a:p>
          <a:p>
            <a:r>
              <a:rPr lang="en-DE"/>
              <a:t>How do applications from different categories behave?</a:t>
            </a:r>
          </a:p>
          <a:p>
            <a:pPr lvl="1"/>
            <a:r>
              <a:rPr lang="en-GB"/>
              <a:t>Cache – upper bound for total storage resources?</a:t>
            </a:r>
          </a:p>
          <a:p>
            <a:pPr lvl="1"/>
            <a:r>
              <a:rPr lang="en-GB"/>
              <a:t>Database – steadily growing demand?</a:t>
            </a:r>
          </a:p>
          <a:p>
            <a:pPr lvl="1"/>
            <a:r>
              <a:rPr lang="en-GB"/>
              <a:t>Message Broker – based on retention period, requests/s (incoming and outgoing data)?</a:t>
            </a:r>
          </a:p>
        </p:txBody>
      </p:sp>
    </p:spTree>
    <p:extLst>
      <p:ext uri="{BB962C8B-B14F-4D97-AF65-F5344CB8AC3E}">
        <p14:creationId xmlns:p14="http://schemas.microsoft.com/office/powerpoint/2010/main" val="3713346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7A5EE-C102-B54D-BD84-BE879B984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 1 – Supervised Learning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5908FF-7A94-2946-84D4-C75CFBAE82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2" y="914400"/>
            <a:ext cx="7663933" cy="5191125"/>
          </a:xfrm>
        </p:spPr>
        <p:txBody>
          <a:bodyPr/>
          <a:lstStyle/>
          <a:p>
            <a:r>
              <a:rPr lang="en-DE"/>
              <a:t>Create building blocks as containers to collect data on storage resource demand</a:t>
            </a:r>
          </a:p>
          <a:p>
            <a:r>
              <a:rPr lang="en-DE"/>
              <a:t>Model resource demand by using supervised ML</a:t>
            </a:r>
          </a:p>
          <a:p>
            <a:r>
              <a:rPr lang="en-DE"/>
              <a:t>Verify accuracy of predictions</a:t>
            </a:r>
          </a:p>
          <a:p>
            <a:endParaRPr lang="en-DE"/>
          </a:p>
          <a:p>
            <a:endParaRPr lang="en-DE"/>
          </a:p>
          <a:p>
            <a:endParaRPr lang="en-DE"/>
          </a:p>
          <a:p>
            <a:pPr marL="0" indent="0">
              <a:buNone/>
            </a:pPr>
            <a:endParaRPr lang="en-DE"/>
          </a:p>
          <a:p>
            <a:r>
              <a:rPr lang="en-DE"/>
              <a:t>Example: </a:t>
            </a:r>
            <a:r>
              <a:rPr lang="en-DE" i="1"/>
              <a:t>How much storage do I need to allocate to Kafka (message broker) if there are x requests/s?</a:t>
            </a:r>
          </a:p>
          <a:p>
            <a:r>
              <a:rPr lang="en-DE"/>
              <a:t>Retention time? Delay between data ingestion and retrieval? ...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9E840BF-A5F9-F240-BE5A-F097B99541F4}"/>
              </a:ext>
            </a:extLst>
          </p:cNvPr>
          <p:cNvSpPr/>
          <p:nvPr/>
        </p:nvSpPr>
        <p:spPr>
          <a:xfrm>
            <a:off x="3858165" y="2800012"/>
            <a:ext cx="1408386" cy="738991"/>
          </a:xfrm>
          <a:prstGeom prst="roundRect">
            <a:avLst/>
          </a:prstGeom>
          <a:ln w="508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VNF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A5BB178-3264-D94C-BA12-408028E9B5D5}"/>
              </a:ext>
            </a:extLst>
          </p:cNvPr>
          <p:cNvCxnSpPr>
            <a:cxnSpLocks/>
            <a:stCxn id="22" idx="3"/>
            <a:endCxn id="11" idx="1"/>
          </p:cNvCxnSpPr>
          <p:nvPr/>
        </p:nvCxnSpPr>
        <p:spPr>
          <a:xfrm>
            <a:off x="2537757" y="3169507"/>
            <a:ext cx="1320408" cy="1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FE3A806-48E2-4746-AACB-77451583D20F}"/>
              </a:ext>
            </a:extLst>
          </p:cNvPr>
          <p:cNvSpPr/>
          <p:nvPr/>
        </p:nvSpPr>
        <p:spPr>
          <a:xfrm>
            <a:off x="1129371" y="2800011"/>
            <a:ext cx="1408386" cy="738991"/>
          </a:xfrm>
          <a:prstGeom prst="roundRect">
            <a:avLst/>
          </a:prstGeom>
          <a:ln w="508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Data Generator</a:t>
            </a:r>
          </a:p>
        </p:txBody>
      </p:sp>
      <p:pic>
        <p:nvPicPr>
          <p:cNvPr id="27" name="Graphic 26" descr="Database">
            <a:extLst>
              <a:ext uri="{FF2B5EF4-FFF2-40B4-BE49-F238E27FC236}">
                <a16:creationId xmlns:a16="http://schemas.microsoft.com/office/drawing/2014/main" id="{D07CADF7-479E-264A-AF49-20BD827E06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39078" y="3081802"/>
            <a:ext cx="914400" cy="914400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02799A8-7588-3748-A8DE-66FF7000BFFA}"/>
              </a:ext>
            </a:extLst>
          </p:cNvPr>
          <p:cNvSpPr/>
          <p:nvPr/>
        </p:nvSpPr>
        <p:spPr>
          <a:xfrm>
            <a:off x="6669768" y="2800012"/>
            <a:ext cx="1408386" cy="738991"/>
          </a:xfrm>
          <a:prstGeom prst="roundRect">
            <a:avLst/>
          </a:prstGeom>
          <a:ln w="508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User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6F99F2E-038C-514D-B97A-BADD7294F79F}"/>
              </a:ext>
            </a:extLst>
          </p:cNvPr>
          <p:cNvCxnSpPr>
            <a:cxnSpLocks/>
            <a:stCxn id="11" idx="3"/>
            <a:endCxn id="29" idx="1"/>
          </p:cNvCxnSpPr>
          <p:nvPr/>
        </p:nvCxnSpPr>
        <p:spPr>
          <a:xfrm>
            <a:off x="5266551" y="3169508"/>
            <a:ext cx="1403217" cy="0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73246BD7-E7BC-484C-865D-F8B0E24C8BBC}"/>
              </a:ext>
            </a:extLst>
          </p:cNvPr>
          <p:cNvSpPr txBox="1"/>
          <p:nvPr/>
        </p:nvSpPr>
        <p:spPr>
          <a:xfrm>
            <a:off x="1056205" y="3600009"/>
            <a:ext cx="1528225" cy="779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tx1"/>
              </a:buClr>
            </a:pPr>
            <a:r>
              <a:rPr lang="en-DE" sz="1600">
                <a:solidFill>
                  <a:schemeClr val="tx1"/>
                </a:solidFill>
                <a:latin typeface="+mn-lt"/>
                <a:ea typeface="ＭＳ Ｐゴシック" charset="-128"/>
              </a:rPr>
              <a:t>Machine Data from Digital Twin</a:t>
            </a:r>
          </a:p>
        </p:txBody>
      </p:sp>
    </p:spTree>
    <p:extLst>
      <p:ext uri="{BB962C8B-B14F-4D97-AF65-F5344CB8AC3E}">
        <p14:creationId xmlns:p14="http://schemas.microsoft.com/office/powerpoint/2010/main" val="38607632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7A5EE-C102-B54D-BD84-BE879B984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Next Steps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5908FF-7A94-2946-84D4-C75CFBAE82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/>
              <a:t>Familiarise with tools</a:t>
            </a:r>
          </a:p>
          <a:p>
            <a:pPr lvl="1"/>
            <a:r>
              <a:rPr lang="en-DE" b="1"/>
              <a:t>Docker, Kubernetes</a:t>
            </a:r>
            <a:r>
              <a:rPr lang="en-DE"/>
              <a:t>, GlusterFS</a:t>
            </a:r>
          </a:p>
          <a:p>
            <a:pPr lvl="1"/>
            <a:r>
              <a:rPr lang="en-DE"/>
              <a:t>Kafka, suitable databases &amp; caches</a:t>
            </a:r>
          </a:p>
          <a:p>
            <a:r>
              <a:rPr lang="en-DE"/>
              <a:t>Decide on profiling scenarios</a:t>
            </a:r>
          </a:p>
          <a:p>
            <a:pPr lvl="1"/>
            <a:r>
              <a:rPr lang="en-DE"/>
              <a:t>Which parameters to vary?</a:t>
            </a:r>
          </a:p>
          <a:p>
            <a:pPr lvl="1"/>
            <a:r>
              <a:rPr lang="en-DE"/>
              <a:t>Which ML method to use?</a:t>
            </a:r>
          </a:p>
          <a:p>
            <a:r>
              <a:rPr lang="en-DE"/>
              <a:t>Develop containers and collect data</a:t>
            </a:r>
          </a:p>
          <a:p>
            <a:r>
              <a:rPr lang="en-DE"/>
              <a:t>Train models and verify results</a:t>
            </a:r>
          </a:p>
        </p:txBody>
      </p:sp>
    </p:spTree>
    <p:extLst>
      <p:ext uri="{BB962C8B-B14F-4D97-AF65-F5344CB8AC3E}">
        <p14:creationId xmlns:p14="http://schemas.microsoft.com/office/powerpoint/2010/main" val="3490063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2D177-6946-5C40-AF3F-B8CB26838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 2 – Resource Allocation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04F77-54DB-5B47-9E1B-5BF72C868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/>
              <a:t>Train agent to minimise response time and maximise datarate</a:t>
            </a:r>
          </a:p>
          <a:p>
            <a:endParaRPr lang="en-DE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2737B93C-298C-AE48-8423-89832C9E44B4}"/>
              </a:ext>
            </a:extLst>
          </p:cNvPr>
          <p:cNvSpPr/>
          <p:nvPr/>
        </p:nvSpPr>
        <p:spPr>
          <a:xfrm>
            <a:off x="1385641" y="3423501"/>
            <a:ext cx="1408386" cy="738991"/>
          </a:xfrm>
          <a:prstGeom prst="roundRect">
            <a:avLst/>
          </a:prstGeom>
          <a:ln w="508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Message Broker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E7BE853-D2B8-4544-875E-BBEA3A4684B4}"/>
              </a:ext>
            </a:extLst>
          </p:cNvPr>
          <p:cNvSpPr/>
          <p:nvPr/>
        </p:nvSpPr>
        <p:spPr>
          <a:xfrm>
            <a:off x="5318043" y="3429000"/>
            <a:ext cx="1408386" cy="738991"/>
          </a:xfrm>
          <a:prstGeom prst="roundRect">
            <a:avLst/>
          </a:prstGeom>
          <a:ln w="508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Cach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5062168C-A0B1-354C-ADBA-84A338F54368}"/>
              </a:ext>
            </a:extLst>
          </p:cNvPr>
          <p:cNvSpPr/>
          <p:nvPr/>
        </p:nvSpPr>
        <p:spPr>
          <a:xfrm>
            <a:off x="3389819" y="3423501"/>
            <a:ext cx="1408386" cy="738991"/>
          </a:xfrm>
          <a:prstGeom prst="roundRect">
            <a:avLst/>
          </a:prstGeom>
          <a:ln w="508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Databas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93B554-C467-4D4B-85B4-B2AC58EF8CFB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>
            <a:off x="2794027" y="3792997"/>
            <a:ext cx="595792" cy="0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62DAF6-1CF1-874D-9F1C-C833133BF30E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>
            <a:off x="4798205" y="3792997"/>
            <a:ext cx="519838" cy="5499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1BB2B118-3B93-7C4B-8E62-A36D39794871}"/>
              </a:ext>
            </a:extLst>
          </p:cNvPr>
          <p:cNvSpPr/>
          <p:nvPr/>
        </p:nvSpPr>
        <p:spPr>
          <a:xfrm>
            <a:off x="1396754" y="2171452"/>
            <a:ext cx="1408386" cy="738991"/>
          </a:xfrm>
          <a:prstGeom prst="roundRect">
            <a:avLst/>
          </a:prstGeom>
          <a:ln w="508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Machine Data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295FC9-68C6-6648-A705-EE56A19B8C29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 flipH="1">
            <a:off x="2089834" y="2910443"/>
            <a:ext cx="11113" cy="513058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8EF7EAF-E991-A14D-9D50-D8A3CE9E839C}"/>
              </a:ext>
            </a:extLst>
          </p:cNvPr>
          <p:cNvSpPr/>
          <p:nvPr/>
        </p:nvSpPr>
        <p:spPr>
          <a:xfrm>
            <a:off x="5318043" y="2165925"/>
            <a:ext cx="1408386" cy="738991"/>
          </a:xfrm>
          <a:prstGeom prst="roundRect">
            <a:avLst/>
          </a:prstGeom>
          <a:ln w="508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DE" sz="1800">
                <a:solidFill>
                  <a:schemeClr val="tx1"/>
                </a:solidFill>
              </a:rPr>
              <a:t>Us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E256FE8-4F67-BE41-B3B2-2C6D23659416}"/>
              </a:ext>
            </a:extLst>
          </p:cNvPr>
          <p:cNvCxnSpPr>
            <a:cxnSpLocks/>
            <a:stCxn id="6" idx="0"/>
            <a:endCxn id="12" idx="2"/>
          </p:cNvCxnSpPr>
          <p:nvPr/>
        </p:nvCxnSpPr>
        <p:spPr>
          <a:xfrm flipV="1">
            <a:off x="6022236" y="2904916"/>
            <a:ext cx="0" cy="524084"/>
          </a:xfrm>
          <a:prstGeom prst="line">
            <a:avLst/>
          </a:prstGeom>
          <a:ln w="381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882F703-640D-B647-B725-5BF2C12711CD}"/>
              </a:ext>
            </a:extLst>
          </p:cNvPr>
          <p:cNvSpPr txBox="1"/>
          <p:nvPr/>
        </p:nvSpPr>
        <p:spPr>
          <a:xfrm>
            <a:off x="412750" y="4660488"/>
            <a:ext cx="4282818" cy="1233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chemeClr val="tx1"/>
              </a:buClr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Decide when to</a:t>
            </a:r>
          </a:p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Add more Storage (costs, downtime)</a:t>
            </a:r>
          </a:p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Relocate available storage to other components (downtime)</a:t>
            </a:r>
            <a:endParaRPr lang="en-DE" sz="18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55CCAE-F014-C343-B23D-2AEDAF3914A2}"/>
              </a:ext>
            </a:extLst>
          </p:cNvPr>
          <p:cNvSpPr txBox="1"/>
          <p:nvPr/>
        </p:nvSpPr>
        <p:spPr>
          <a:xfrm>
            <a:off x="4869034" y="4666097"/>
            <a:ext cx="3869724" cy="976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chemeClr val="tx1"/>
              </a:buClr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Satisfy constraints</a:t>
            </a:r>
          </a:p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Response time requirement</a:t>
            </a:r>
          </a:p>
          <a:p>
            <a:pPr marL="342900" indent="-342900">
              <a:spcBef>
                <a:spcPct val="20000"/>
              </a:spcBef>
              <a:buClr>
                <a:schemeClr val="tx1"/>
              </a:buClr>
              <a:buFont typeface="+mj-lt"/>
              <a:buAutoNum type="arabicPeriod"/>
            </a:pPr>
            <a:r>
              <a:rPr lang="en-DE" sz="1800">
                <a:solidFill>
                  <a:schemeClr val="tx1"/>
                </a:solidFill>
                <a:latin typeface="+mn-lt"/>
                <a:ea typeface="ＭＳ Ｐゴシック" charset="-128"/>
              </a:rPr>
              <a:t>Datarate</a:t>
            </a:r>
          </a:p>
        </p:txBody>
      </p:sp>
      <p:pic>
        <p:nvPicPr>
          <p:cNvPr id="25" name="Graphic 24" descr="Database">
            <a:extLst>
              <a:ext uri="{FF2B5EF4-FFF2-40B4-BE49-F238E27FC236}">
                <a16:creationId xmlns:a16="http://schemas.microsoft.com/office/drawing/2014/main" id="{547EBF58-B7FF-EB43-ABE3-9385B786E4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44943" y="3869139"/>
            <a:ext cx="520394" cy="520394"/>
          </a:xfrm>
          <a:prstGeom prst="rect">
            <a:avLst/>
          </a:prstGeom>
        </p:spPr>
      </p:pic>
      <p:pic>
        <p:nvPicPr>
          <p:cNvPr id="26" name="Graphic 25" descr="Database">
            <a:extLst>
              <a:ext uri="{FF2B5EF4-FFF2-40B4-BE49-F238E27FC236}">
                <a16:creationId xmlns:a16="http://schemas.microsoft.com/office/drawing/2014/main" id="{2557425A-0A6F-5F46-9064-3C5C97BCB0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76274" y="3743552"/>
            <a:ext cx="711491" cy="711491"/>
          </a:xfrm>
          <a:prstGeom prst="rect">
            <a:avLst/>
          </a:prstGeom>
        </p:spPr>
      </p:pic>
      <p:pic>
        <p:nvPicPr>
          <p:cNvPr id="27" name="Graphic 26" descr="Database">
            <a:extLst>
              <a:ext uri="{FF2B5EF4-FFF2-40B4-BE49-F238E27FC236}">
                <a16:creationId xmlns:a16="http://schemas.microsoft.com/office/drawing/2014/main" id="{E7126F84-D3FA-AD46-B267-9A38D87482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48822" y="3953085"/>
            <a:ext cx="355214" cy="35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0223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FE77C-7077-E541-9041-2359C8CDF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 2 – Bonus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E022FC-6448-A24D-AA86-727EE9DBEC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/>
              <a:t>Investigate Tradeoffs</a:t>
            </a:r>
          </a:p>
          <a:p>
            <a:r>
              <a:rPr lang="en-US"/>
              <a:t>Compression (lossy/lossless; during transmission/on disk)</a:t>
            </a:r>
          </a:p>
          <a:p>
            <a:r>
              <a:rPr lang="en-US"/>
              <a:t>Impact on</a:t>
            </a:r>
          </a:p>
          <a:p>
            <a:pPr lvl="1"/>
            <a:r>
              <a:rPr lang="en-US"/>
              <a:t>Required Storage</a:t>
            </a:r>
          </a:p>
          <a:p>
            <a:pPr lvl="1"/>
            <a:r>
              <a:rPr lang="en-US"/>
              <a:t>Network Load</a:t>
            </a:r>
          </a:p>
          <a:p>
            <a:pPr lvl="1"/>
            <a:r>
              <a:rPr lang="en-US"/>
              <a:t>CPU Utilisation</a:t>
            </a:r>
          </a:p>
          <a:p>
            <a:pPr lvl="1"/>
            <a:r>
              <a:rPr lang="en-US"/>
              <a:t>Data Access Latency</a:t>
            </a:r>
            <a:endParaRPr lang="en-DE"/>
          </a:p>
          <a:p>
            <a:endParaRPr lang="en-DE"/>
          </a:p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99008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06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B4A59-F9AF-0E40-B047-FA11B7343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seful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C99AB-8A9A-8542-8976-EFD391C5C8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sz="18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luster volume status &lt;vol_name&gt; detail</a:t>
            </a: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b="1">
                <a:latin typeface="Calibri" panose="020F0502020204030204" pitchFamily="34" charset="0"/>
                <a:ea typeface="Menlo" panose="020B0609030804020204" pitchFamily="49" charset="0"/>
                <a:cs typeface="Calibri" panose="020F0502020204030204" pitchFamily="34" charset="0"/>
              </a:rPr>
              <a:t>Filtering for the important value:</a:t>
            </a:r>
          </a:p>
          <a:p>
            <a:pPr marL="0" indent="0">
              <a:buNone/>
            </a:pPr>
            <a:r>
              <a:rPr lang="en-GB" sz="180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luster volume status &lt;vol_name&gt; detail | grep 'Disk Space Free' | cut -f2 -d":" | sed 's/^ *//g' | head -n1</a:t>
            </a:r>
            <a:endParaRPr lang="en-DE" sz="1800"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687FF7-B9C8-9449-A797-AF7ECDC48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50" y="1466766"/>
            <a:ext cx="7770198" cy="320623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8EF6291-CDC6-3045-BF2A-D7D574EAC480}"/>
              </a:ext>
            </a:extLst>
          </p:cNvPr>
          <p:cNvSpPr/>
          <p:nvPr/>
        </p:nvSpPr>
        <p:spPr>
          <a:xfrm>
            <a:off x="412751" y="3700946"/>
            <a:ext cx="2860764" cy="633553"/>
          </a:xfrm>
          <a:prstGeom prst="roundRect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883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#38;#38;#38;#38;#38;#38;#38;#38;#38;#38;#38;#38;#38;#38;#38;#38;#38;#38;#38;#38;#38;#38;#38;#38;#38;#38;#38;#38;#38;#38;#38;quot;&amp;#38;#38;#38;#38;#38;#38;#38;#38;#38;#38;#38;#38;#38;#38;#38;#38;#38;#38;#38;#38;#38;#38;#38;#38;#38;#38;#38;#38;#38;#38;#38;#x0D;&amp;#38;#38;#38;#38;#38;#38;#38;#38;#38;#38;#38;#38;#38;#38;#38;#38;#38;#38;#38;#38;#38;#38;#38;#38;#38;#38;#38;#38;#38;#38;#38;#x0A;Hardware Requirements for the SPAN Testbed&amp;#38;#38;#38;#38;#38;#38;#38;#38;#38;#38;#38;#38;#38;#38;#38;#38;#38;#38;#38;#38;#38;#38;#38;#38;#38;#38;#38;#38;#38;#38;#38;quot;&quot;/&gt;&lt;property id=&quot;20307&quot; value=&quot;256&quot;/&gt;&lt;/object&gt;&lt;object type=&quot;3&quot; unique_id=&quot;10005&quot;&gt;&lt;property id=&quot;20148&quot; value=&quot;5&quot;/&gt;&lt;property id=&quot;20300&quot; value=&quot;Slide 2 - &amp;#38;#38;#38;#38;#38;#38;#38;#38;#38;#38;#38;#38;#38;#38;#38;#38;#38;#38;#38;#38;#38;#38;#38;#38;#38;#38;#38;#38;#38;#38;#38;quot;Current Testbed&amp;#38;#38;#38;#38;#38;#38;#38;#38;#38;#38;#38;#38;#38;#38;#38;#38;#38;#38;#38;#38;#38;#38;#38;#38;#38;#38;#38;#38;#38;#38;#38;quot;&quot;/&gt;&lt;property id=&quot;20307&quot; value=&quot;257&quot;/&gt;&lt;/object&gt;&lt;object type=&quot;3&quot; unique_id=&quot;10006&quot;&gt;&lt;property id=&quot;20148&quot; value=&quot;5&quot;/&gt;&lt;property id=&quot;20300&quot; value=&quot;Slide 3 - &amp;#38;#38;#38;#38;#38;#38;#38;#38;#38;#38;#38;#38;#38;#38;#38;#38;#38;#38;#38;#38;#38;#38;#38;#38;#38;#38;#38;#38;#38;#38;#38;quot;Testbed Architecture&amp;#38;#38;#38;#38;#38;#38;#38;#38;#38;#38;#38;#38;#38;#38;#38;#38;#38;#38;#38;#38;#38;#38;#38;#38;#38;#38;#38;#38;#38;#38;#38;quot;&quot;/&gt;&lt;property id=&quot;20307&quot; value=&quot;258&quot;/&gt;&lt;/object&gt;&lt;object type=&quot;3&quot; unique_id=&quot;10007&quot;&gt;&lt;property id=&quot;20148&quot; value=&quot;5&quot;/&gt;&lt;property id=&quot;20300&quot; value=&quot;Slide 4 - &amp;#38;#38;#38;#38;#38;#38;#38;#38;#38;#38;#38;#38;#38;#38;#38;#38;#38;#38;#38;#38;#38;#38;#38;#38;#38;#38;#38;#38;#38;#38;#38;quot;Required Phones and Tablets&amp;#38;#38;#38;#38;#38;#38;#38;#38;#38;#38;#38;#38;#38;#38;#38;#38;#38;#38;#38;#38;#38;#38;#38;#38;#38;#38;#38;#38;#38;#38;#38;quot;&quot;/&gt;&lt;property id=&quot;20307&quot; value=&quot;259&quot;/&gt;&lt;/object&gt;&lt;object type=&quot;3&quot; unique_id=&quot;10008&quot;&gt;&lt;property id=&quot;20148&quot; value=&quot;5&quot;/&gt;&lt;property id=&quot;20300&quot; value=&quot;Slide 5 - &amp;#38;#38;#38;#38;#38;#38;#38;#38;#38;#38;#38;#38;#38;#38;#38;#38;#38;#38;#38;#38;#38;#38;#38;#38;#38;#38;#38;#38;#38;#38;#38;quot;Required Access Point Hardware&amp;#38;#38;#38;#38;#38;#38;#38;#38;#38;#38;#38;#38;#38;#38;#38;#38;#38;#38;#38;#38;#38;#38;#38;#38;#38;#38;#38;#38;#38;#38;#38;quot;&quot;/&gt;&lt;property id=&quot;20307&quot; value=&quot;260&quot;/&gt;&lt;/object&gt;&lt;object type=&quot;3&quot; unique_id=&quot;10009&quot;&gt;&lt;property id=&quot;20148&quot; value=&quot;5&quot;/&gt;&lt;property id=&quot;20300&quot; value=&quot;Slide 6 - &amp;#38;#38;#38;#38;#38;#38;#38;#38;#38;#38;#38;#38;#38;#38;#38;#38;#38;#38;#38;#38;#38;#38;#38;#38;#38;#38;#38;#38;#38;#38;#38;quot;Requirements for Server, Connectivity and Cabling&amp;#38;#38;#38;#38;#38;#38;#38;#38;#38;#38;#38;#38;#38;#38;#38;#38;#38;#38;#38;#38;#38;#38;#38;#38;#38;#38;#38;#38;#38;#38;#38;quot;&quot;/&gt;&lt;property id=&quot;20307&quot; value=&quot;261&quot;/&gt;&lt;/object&gt;&lt;object type=&quot;3&quot; unique_id=&quot;10010&quot;&gt;&lt;property id=&quot;20148&quot; value=&quot;5&quot;/&gt;&lt;property id=&quot;20300&quot; value=&quot;Slide 7 - &amp;#38;#38;#38;#38;#38;#38;#38;#38;#38;#38;#38;#38;#38;#38;#38;#38;#38;#38;#38;#38;#38;#38;#38;#38;#38;#38;#38;#38;#38;#38;#38;quot;Summary and Calculation&amp;#38;#38;#38;#38;#38;#38;#38;#38;#38;#38;#38;#38;#38;#38;#38;#38;#38;#38;#38;#38;#38;#38;#38;#38;#38;#38;#38;#38;#38;#38;#38;quot;&quot;/&gt;&lt;property id=&quot;20307&quot; value=&quot;262&quot;/&gt;&lt;/object&gt;&lt;object type=&quot;3&quot; unique_id=&quot;10011&quot;&gt;&lt;property id=&quot;20148&quot; value=&quot;5&quot;/&gt;&lt;property id=&quot;20300&quot; value=&quot;Slide 8 - &amp;#38;#38;#38;#38;#38;#38;#38;#38;#38;#38;#38;#38;#38;#38;#38;#38;#38;#38;#38;#38;#38;#38;#38;#38;#38;#38;#38;#38;#38;#38;#38;quot;Open Questions&amp;#38;#38;#38;#38;#38;#38;#38;#38;#38;#38;#38;#38;#38;#38;#38;#38;#38;#38;#38;#38;#38;#38;#38;#38;#38;#38;#38;#38;#38;#38;#38;quot;&quot;/&gt;&lt;property id=&quot;20307&quot; value=&quot;263&quot;/&gt;&lt;/object&gt;&lt;/object&gt;&lt;/object&gt;&lt;/database&gt;"/>
  <p:tag name="SECTOMILLISECCONVERTED" val="1"/>
  <p:tag name="EE4P_STYLE_ID" val="bd58fcbf-ed84-413b-a275-bb83d604f2f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1&quot; fontSize=&quot;18&quot; startTime=&quot;540&quot; timeFormatId=&quot;1&quot; startItemNo=&quot;1&quot; createSingleAgendaSlide=&quot;0&quot; createSeparatingSlides=&quot;1&quot; createBackupSlide=&quot;0&quot; layoutId=&quot;1_1&quot; fontSizeAuto=&quot;0&quot; createSections=&quot;0&quot; singleSlideId=&quot;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150.6169&quot; /&gt;&lt;column field=&quot;responsible&quot; label=&quot;Responsible&quot; visible=&quot;1&quot; checked=&quot;0&quot; leftSpacing=&quot;10&quot; rightDistribute=&quot;1&quot; dock=&quot;1&quot; /&gt;&lt;column field=&quot;freecolumn&quot; label=&quot;&amp;lt;Header&amp;g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1b9d1ada-ab76-4212-9633-bb0e507bd9fd&quot; parentId=&quot;&quot; level=&quot;1&quot; generateAgendaSlide=&quot;1&quot; showAgendaItem=&quot;1&quot; isBreak=&quot;0&quot; topic=&quot;Joint Scaling and Placement&quot; agendaSlideId=&quot;b6c1f289-59c1-4f41-a65c-e8ef756786ca&quot; itemNo=&quot;1&quot; subItemNo=&quot;0&quot; sectionId=&quot;&quot; /&gt;&lt;item duration=&quot;30&quot; id=&quot;a658cdc1-5ebf-4c80-a810-705d05f54ed9&quot; parentId=&quot;&quot; level=&quot;1&quot; generateAgendaSlide=&quot;1&quot; showAgendaItem=&quot;1&quot; isBreak=&quot;0&quot; topic=&quot;Model and Problem Description&quot; agendaSlideId=&quot;54b06d69-cdc3-4e81-a318-ab8051fe503c&quot; itemNo=&quot;2&quot; subItemNo=&quot;0&quot; sectionId=&quot;&quot; /&gt;&lt;item duration=&quot;30&quot; id=&quot;355b5a8a-646b-4c3f-b0f0-77754d1b49d1&quot; parentId=&quot;&quot; level=&quot;1&quot; generateAgendaSlide=&quot;1&quot; showAgendaItem=&quot;1&quot; isBreak=&quot;0&quot; topic=&quot;Mixed Integer Programming and Heuristic Approaches&quot; agendaSlideId=&quot;31d55555-0fb6-4799-9c44-195805aeb905&quot; itemNo=&quot;3&quot; subItemNo=&quot;0&quot; sectionId=&quot;&quot; /&gt;&lt;item duration=&quot;30&quot; id=&quot;d3be34ec-f773-4f77-b64c-3b5ebbcaca5d&quot; parentId=&quot;&quot; level=&quot;1&quot; generateAgendaSlide=&quot;1&quot; showAgendaItem=&quot;1&quot; isBreak=&quot;0&quot; topic=&quot;Conclusion&quot; agendaSlideId=&quot;1324078f-b83a-43e6-a839-90cdf5dc8bdf&quot; itemNo=&quot;6&quot; subItemNo=&quot;0&quot; sectionId=&quot;&quot; /&gt;&lt;/items&gt;&lt;/agenda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default">
  <a:themeElements>
    <a:clrScheme name="Custom 1">
      <a:dk1>
        <a:srgbClr val="40458C"/>
      </a:dk1>
      <a:lt1>
        <a:srgbClr val="FFFFFF"/>
      </a:lt1>
      <a:dk2>
        <a:srgbClr val="660066"/>
      </a:dk2>
      <a:lt2>
        <a:srgbClr val="B7C1EB"/>
      </a:lt2>
      <a:accent1>
        <a:srgbClr val="660066"/>
      </a:accent1>
      <a:accent2>
        <a:srgbClr val="FEFCB6"/>
      </a:accent2>
      <a:accent3>
        <a:srgbClr val="FFFFFF"/>
      </a:accent3>
      <a:accent4>
        <a:srgbClr val="353A77"/>
      </a:accent4>
      <a:accent5>
        <a:srgbClr val="F4E9C1"/>
      </a:accent5>
      <a:accent6>
        <a:srgbClr val="E6E4A5"/>
      </a:accent6>
      <a:hlink>
        <a:srgbClr val="6F89F7"/>
      </a:hlink>
      <a:folHlink>
        <a:srgbClr val="CFDBFD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default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FEFCB6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E6E4A5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7872</TotalTime>
  <Words>307</Words>
  <Application>Microsoft Macintosh PowerPoint</Application>
  <PresentationFormat>On-screen Show (4:3)</PresentationFormat>
  <Paragraphs>72</Paragraphs>
  <Slides>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Menlo</vt:lpstr>
      <vt:lpstr>Symbol</vt:lpstr>
      <vt:lpstr>Tahoma</vt:lpstr>
      <vt:lpstr>Times New Roman</vt:lpstr>
      <vt:lpstr>default</vt:lpstr>
      <vt:lpstr>Storage</vt:lpstr>
      <vt:lpstr>Phase 1 – Supervised Learning</vt:lpstr>
      <vt:lpstr>Phase 1 – Supervised Learning</vt:lpstr>
      <vt:lpstr>Next Steps</vt:lpstr>
      <vt:lpstr>Phase 2 – Resource Allocation</vt:lpstr>
      <vt:lpstr>Phase 2 – Bonus</vt:lpstr>
      <vt:lpstr>PowerPoint Presentation</vt:lpstr>
      <vt:lpstr>Usefu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orage</dc:title>
  <dc:subject/>
  <dc:creator/>
  <cp:keywords/>
  <dc:description/>
  <cp:lastModifiedBy>Marvin Illian</cp:lastModifiedBy>
  <cp:revision>2621</cp:revision>
  <cp:lastPrinted>2018-07-15T21:49:19Z</cp:lastPrinted>
  <dcterms:created xsi:type="dcterms:W3CDTF">2011-02-22T11:59:53Z</dcterms:created>
  <dcterms:modified xsi:type="dcterms:W3CDTF">2020-06-26T13:13:01Z</dcterms:modified>
  <cp:category/>
</cp:coreProperties>
</file>